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14"/>
  </p:notesMasterIdLst>
  <p:handoutMasterIdLst>
    <p:handoutMasterId r:id="rId15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4" r:id="rId8"/>
    <p:sldId id="421" r:id="rId9"/>
    <p:sldId id="426" r:id="rId10"/>
    <p:sldId id="425" r:id="rId11"/>
    <p:sldId id="408" r:id="rId12"/>
    <p:sldId id="412" r:id="rId13"/>
  </p:sldIdLst>
  <p:sldSz cx="9906000" cy="6858000" type="A4"/>
  <p:notesSz cx="6797675" cy="9928225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2.11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2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966140" y="5617774"/>
            <a:ext cx="7998180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72449" y="1016990"/>
            <a:ext cx="7778044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073151" y="1009651"/>
            <a:ext cx="7778044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833648" y="702069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8533674" y="726098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1134" y="1794935"/>
            <a:ext cx="6200424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1134" y="3736622"/>
            <a:ext cx="6188194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4899" y="535759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71882" y="5357593"/>
            <a:ext cx="5454415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58" y="5357593"/>
            <a:ext cx="600192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2" y="925691"/>
            <a:ext cx="1550106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407" y="1106313"/>
            <a:ext cx="5610344" cy="440266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394" y="2239431"/>
            <a:ext cx="677521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77623" y="3725335"/>
            <a:ext cx="6750756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406652" y="2121407"/>
            <a:ext cx="3467100" cy="36027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052060" y="2119313"/>
            <a:ext cx="3467100" cy="3605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7692" y="2122312"/>
            <a:ext cx="318448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891" y="2122311"/>
            <a:ext cx="3189732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406652" y="2944368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032247" y="2944813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844035" y="603504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812293" y="576072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201391" y="2020043"/>
            <a:ext cx="3320229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5258815" y="1150993"/>
            <a:ext cx="3272525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3803" y="3623748"/>
            <a:ext cx="3302965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0173" y="588567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67" y="5829262"/>
            <a:ext cx="3816158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87089" y="5896962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07147" y="575769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836833" y="603920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98626" y="2020824"/>
            <a:ext cx="331851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5306833" y="1207272"/>
            <a:ext cx="3156685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8156" y="3621024"/>
            <a:ext cx="3298698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4764" y="5888738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84" y="5831038"/>
            <a:ext cx="359563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92263" y="5900027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81038" y="6069330"/>
            <a:ext cx="8581074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92480" y="575310"/>
            <a:ext cx="833755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92480" y="576072"/>
            <a:ext cx="8337550" cy="5715000"/>
          </a:xfrm>
          <a:prstGeom prst="rect">
            <a:avLst/>
          </a:prstGeom>
          <a:blipFill dpi="0" rotWithShape="1">
            <a:blip r:embed="rId16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1435684">
            <a:off x="589053" y="273091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4096196">
            <a:off x="8814958" y="274541"/>
            <a:ext cx="566928" cy="614172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6276" y="817583"/>
            <a:ext cx="7545682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4961" y="2119257"/>
            <a:ext cx="6712772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92471" y="5809153"/>
            <a:ext cx="1314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2.11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1" y="5809153"/>
            <a:ext cx="60018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9386" y="5809153"/>
            <a:ext cx="600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3" name="Слайд think-cell" r:id="rId18" imgW="443" imgH="443" progId="TCLayout.ActiveDocument.1">
                  <p:embed/>
                </p:oleObj>
              </mc:Choice>
              <mc:Fallback>
                <p:oleObj name="Слайд think-cell" r:id="rId1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2.xml"/><Relationship Id="rId3" Type="http://schemas.openxmlformats.org/officeDocument/2006/relationships/tags" Target="../tags/tag25.xml"/><Relationship Id="rId7" Type="http://schemas.openxmlformats.org/officeDocument/2006/relationships/oleObject" Target="../embeddings/oleObject12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1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2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1.jpeg"/><Relationship Id="rId2" Type="http://schemas.openxmlformats.org/officeDocument/2006/relationships/tags" Target="../tags/tag8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9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8904" y="130282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704528" y="386878"/>
            <a:ext cx="8514566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87559" y="521502"/>
            <a:ext cx="90730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2655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8544" y="5669730"/>
            <a:ext cx="82653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1 декабря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2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2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09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76673" y="1233214"/>
            <a:ext cx="831269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 smtClean="0"/>
              <a:t>9 </a:t>
            </a:r>
            <a:r>
              <a:rPr lang="ru-RU" sz="2000" b="0" u="sng" dirty="0" smtClean="0"/>
              <a:t>месяцев </a:t>
            </a:r>
            <a:r>
              <a:rPr lang="ru-RU" sz="2000" b="0" u="sng" dirty="0"/>
              <a:t>2022 г</a:t>
            </a:r>
            <a:r>
              <a:rPr lang="ru-RU" sz="2000" b="0" u="sng" dirty="0" smtClean="0"/>
              <a:t>.:</a:t>
            </a:r>
          </a:p>
          <a:p>
            <a:endParaRPr lang="ru-RU" sz="800" b="0" dirty="0"/>
          </a:p>
          <a:p>
            <a:r>
              <a:rPr lang="ru-RU" sz="1600" b="0" dirty="0" smtClean="0"/>
              <a:t>1. 18.02.2022 </a:t>
            </a:r>
            <a:r>
              <a:rPr lang="ru-RU" sz="1600" b="0" dirty="0"/>
              <a:t>– АО «РУСАЛ», Новокузнецкий Алюминиевый завод, Кем. обл., </a:t>
            </a:r>
            <a:endParaRPr lang="ru-RU" sz="1600" b="0" dirty="0" smtClean="0"/>
          </a:p>
          <a:p>
            <a:r>
              <a:rPr lang="ru-RU" sz="1600" b="0" dirty="0" smtClean="0"/>
              <a:t>г</a:t>
            </a:r>
            <a:r>
              <a:rPr lang="ru-RU" sz="1600" b="0" dirty="0"/>
              <a:t>. Новокузнецк, обесточена нагрузка величиной 146 МВт, пострадавших нет</a:t>
            </a:r>
            <a:r>
              <a:rPr lang="ru-RU" sz="1600" b="0" dirty="0" smtClean="0"/>
              <a:t>.</a:t>
            </a:r>
          </a:p>
          <a:p>
            <a:endParaRPr lang="ru-RU" sz="1600" b="0" dirty="0"/>
          </a:p>
          <a:p>
            <a:r>
              <a:rPr lang="ru-RU" sz="1600" b="0" dirty="0"/>
              <a:t>2. 08.05.2022 - ООО «</a:t>
            </a:r>
            <a:r>
              <a:rPr lang="ru-RU" sz="1600" b="0" dirty="0" err="1"/>
              <a:t>Техногазсервис</a:t>
            </a:r>
            <a:r>
              <a:rPr lang="ru-RU" sz="1600" b="0" dirty="0"/>
              <a:t>» на ОПО «станция газозаправочная автомобильная» (Алтайский край, г. Новоалтайск) произошло воспламенение газовой смеси с </a:t>
            </a:r>
            <a:r>
              <a:rPr lang="ru-RU" sz="1600" b="0" dirty="0" smtClean="0"/>
              <a:t>последующим </a:t>
            </a:r>
            <a:r>
              <a:rPr lang="ru-RU" sz="1600" b="0" dirty="0"/>
              <a:t>взрывом газовых баллонов - 1 смертельный. </a:t>
            </a:r>
            <a:endParaRPr lang="ru-RU" sz="1600" b="0" dirty="0" smtClean="0"/>
          </a:p>
          <a:p>
            <a:endParaRPr lang="ru-RU" sz="1600" b="0" dirty="0"/>
          </a:p>
          <a:p>
            <a:r>
              <a:rPr lang="ru-RU" sz="1600" b="0" dirty="0"/>
              <a:t>3. 25.07.2022 - ООО «ПИК» (г. Томск) опрокидывание автомобильного крана при ремонте коммунального моста, пострадавших нет.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4</a:t>
            </a:r>
            <a:r>
              <a:rPr lang="ru-RU" sz="1600" b="0" dirty="0"/>
              <a:t>. 29.07.2022 - АО «ЕВРАЗ ЗСМК», (Кем. обл., г. Новокузнецк) разрыв линии кислорода с последующим пожаром, пострадавших нет.</a:t>
            </a:r>
          </a:p>
          <a:p>
            <a:endParaRPr lang="ru-RU" sz="1600" b="0" dirty="0"/>
          </a:p>
          <a:p>
            <a:r>
              <a:rPr lang="ru-RU" sz="2000" b="0" u="sng" dirty="0"/>
              <a:t>Групповые случаи за </a:t>
            </a:r>
            <a:r>
              <a:rPr lang="ru-RU" sz="2000" b="0" u="sng" dirty="0" smtClean="0"/>
              <a:t>9 </a:t>
            </a:r>
            <a:r>
              <a:rPr lang="ru-RU" sz="2000" b="0" u="sng" dirty="0"/>
              <a:t>месяцев  2022 г.:  </a:t>
            </a:r>
            <a:endParaRPr lang="ru-RU" sz="2000" b="0" u="sng" dirty="0" smtClean="0"/>
          </a:p>
          <a:p>
            <a:endParaRPr lang="ru-RU" sz="800" b="0" u="sng" dirty="0" smtClean="0"/>
          </a:p>
          <a:p>
            <a:r>
              <a:rPr lang="ru-RU" sz="1600" b="0" dirty="0"/>
              <a:t>1. 05.07.2022 АО «Распадская-Коксовая» (г. Междуреченск, Кем. обл.) деформация пород кровли и бортов горной выработки, вывал горной массы, в результате </a:t>
            </a:r>
            <a:r>
              <a:rPr lang="ru-RU" sz="1600" b="0" dirty="0" err="1"/>
              <a:t>сейсмособытия</a:t>
            </a:r>
            <a:r>
              <a:rPr lang="ru-RU" sz="1600" b="0" dirty="0"/>
              <a:t> –                     2 легких, 1 тяжелый, 1 смертельный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193385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9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3999" y="580526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9581" y="-19534"/>
              <a:ext cx="4315393" cy="1253196"/>
              <a:chOff x="39581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9581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9649" y="585929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908" y="961836"/>
            <a:ext cx="4094719" cy="5283995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40632" y="5072725"/>
            <a:ext cx="34094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/>
              <a:t>discussions@gosnadzor42.ru</a:t>
            </a:r>
            <a:endParaRPr lang="ru-RU" sz="20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384" y="5589240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32" y="4830431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20552" y="1237541"/>
            <a:ext cx="353714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68980" y="2866651"/>
            <a:ext cx="47810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0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929927" y="3903173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920552" y="3790157"/>
            <a:ext cx="3897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2" y="1598164"/>
            <a:ext cx="761593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9 месяцев 2022 года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б </a:t>
            </a:r>
            <a:r>
              <a:rPr lang="ru-RU" sz="2000" dirty="0">
                <a:latin typeface="Arial Narrow" panose="020B0606020202030204" pitchFamily="34" charset="0"/>
              </a:rPr>
              <a:t>итогах и проблемах подготовки к прохождению осенне-зимнего периода 2022-2023 гг.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причинах неполучения паспортов готовности муниципальными образованиями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состоянии поднадзорных гидротехнических сооружений и проблемных вопросах, связанных  с их эксплуатацией.</a:t>
            </a:r>
            <a:endParaRPr lang="ru-RU" sz="2000" dirty="0" smtClean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61963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56490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446629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27" y="4341433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2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9" y="64193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19" y="591628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0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5663007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836"/>
            <a:ext cx="8915400" cy="1150378"/>
            <a:chOff x="35496" y="36949"/>
            <a:chExt cx="9107488" cy="1196713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10245" y="36949"/>
              <a:ext cx="4315393" cy="1196713"/>
              <a:chOff x="110245" y="36949"/>
              <a:chExt cx="4315393" cy="1196713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10245" y="36949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60" y="592195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3556" y="2016264"/>
            <a:ext cx="518261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84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12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460104"/>
              </p:ext>
            </p:extLst>
          </p:nvPr>
        </p:nvGraphicFramePr>
        <p:xfrm>
          <a:off x="3512840" y="5594491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2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34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7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791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967424"/>
              </p:ext>
            </p:extLst>
          </p:nvPr>
        </p:nvGraphicFramePr>
        <p:xfrm>
          <a:off x="784045" y="1340768"/>
          <a:ext cx="8345418" cy="4385046"/>
        </p:xfrm>
        <a:graphic>
          <a:graphicData uri="http://schemas.openxmlformats.org/drawingml/2006/table">
            <a:tbl>
              <a:tblPr/>
              <a:tblGrid>
                <a:gridCol w="588224"/>
                <a:gridCol w="3443558"/>
                <a:gridCol w="1078409"/>
                <a:gridCol w="1078409"/>
                <a:gridCol w="1078409"/>
                <a:gridCol w="1078409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 %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1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9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427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7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7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6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8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2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66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77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9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8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54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71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682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60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7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4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03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7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6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9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29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9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8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37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54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8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0562,90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8578,80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81984,10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4064,3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9518,2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4546,1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0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739539"/>
              </p:ext>
            </p:extLst>
          </p:nvPr>
        </p:nvGraphicFramePr>
        <p:xfrm>
          <a:off x="784044" y="1556792"/>
          <a:ext cx="8345420" cy="4104970"/>
        </p:xfrm>
        <a:graphic>
          <a:graphicData uri="http://schemas.openxmlformats.org/drawingml/2006/table">
            <a:tbl>
              <a:tblPr/>
              <a:tblGrid>
                <a:gridCol w="608685"/>
                <a:gridCol w="3235652"/>
                <a:gridCol w="1500361"/>
                <a:gridCol w="1500361"/>
                <a:gridCol w="1500361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Э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ГТ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остережени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7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23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0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10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03802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</a:t>
            </a: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и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существлении государственного надзора в сфере промышленной безопасности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063981"/>
              </p:ext>
            </p:extLst>
          </p:nvPr>
        </p:nvGraphicFramePr>
        <p:xfrm>
          <a:off x="784046" y="1628800"/>
          <a:ext cx="8345417" cy="4629564"/>
        </p:xfrm>
        <a:graphic>
          <a:graphicData uri="http://schemas.openxmlformats.org/drawingml/2006/table">
            <a:tbl>
              <a:tblPr/>
              <a:tblGrid>
                <a:gridCol w="356614"/>
                <a:gridCol w="1472519"/>
                <a:gridCol w="589002"/>
                <a:gridCol w="477165"/>
                <a:gridCol w="477165"/>
                <a:gridCol w="335507"/>
                <a:gridCol w="347933"/>
                <a:gridCol w="350418"/>
                <a:gridCol w="357873"/>
                <a:gridCol w="357873"/>
                <a:gridCol w="318110"/>
                <a:gridCol w="318110"/>
                <a:gridCol w="357873"/>
                <a:gridCol w="357873"/>
                <a:gridCol w="367814"/>
                <a:gridCol w="365330"/>
                <a:gridCol w="407580"/>
                <a:gridCol w="410063"/>
                <a:gridCol w="320595"/>
              </a:tblGrid>
              <a:tr h="27692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 видам надзора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7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П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3771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5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9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2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85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267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5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4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8088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38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8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1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0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9 </a:t>
            </a:r>
            <a:r>
              <a:rPr lang="ru-RU" sz="2000" b="0" u="sng" dirty="0" smtClean="0"/>
              <a:t>месяцев </a:t>
            </a:r>
            <a:r>
              <a:rPr lang="ru-RU" sz="2000" b="0" u="sng" dirty="0"/>
              <a:t>2022 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/>
          </a:p>
          <a:p>
            <a:r>
              <a:rPr lang="ru-RU" sz="1600" b="0" dirty="0"/>
              <a:t>1. 22.01.2022 - ООО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г</a:t>
            </a:r>
            <a:r>
              <a:rPr lang="ru-RU" sz="1600" b="0" dirty="0"/>
              <a:t>. Осинники, удар козырьком секции механизированной крепи - 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2. 10.03.2022 </a:t>
            </a:r>
            <a:r>
              <a:rPr lang="ru-RU" sz="1600" b="0" dirty="0" smtClean="0"/>
              <a:t>- </a:t>
            </a:r>
            <a:r>
              <a:rPr lang="ru-RU" sz="1600" b="0" dirty="0"/>
              <a:t>АО «ЕВРАЗ ЗСМК», </a:t>
            </a:r>
            <a:r>
              <a:rPr lang="ru-RU" sz="1600" b="0" dirty="0" smtClean="0"/>
              <a:t>г</a:t>
            </a:r>
            <a:r>
              <a:rPr lang="ru-RU" sz="1600" b="0" dirty="0"/>
              <a:t>. Новокузнецк, прижимание электровозом к колонне </a:t>
            </a:r>
            <a:r>
              <a:rPr lang="ru-RU" sz="1600" b="0" dirty="0" smtClean="0"/>
              <a:t>-</a:t>
            </a:r>
          </a:p>
          <a:p>
            <a:r>
              <a:rPr lang="ru-RU" sz="1600" b="0" dirty="0" smtClean="0"/>
              <a:t>1 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3. 24.03.2022 - ООО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г</a:t>
            </a:r>
            <a:r>
              <a:rPr lang="ru-RU" sz="1600" b="0" dirty="0"/>
              <a:t>. Осинники, выдавливание угля с повышенным выделением метана - 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4. 25.04.2022 - АО «ОУК </a:t>
            </a:r>
            <a:r>
              <a:rPr lang="ru-RU" sz="1600" b="0" dirty="0" err="1"/>
              <a:t>Южкузбассуголь</a:t>
            </a:r>
            <a:r>
              <a:rPr lang="ru-RU" sz="1600" b="0" dirty="0"/>
              <a:t>» Филиал «Шахта </a:t>
            </a:r>
            <a:r>
              <a:rPr lang="ru-RU" sz="1600" b="0" dirty="0" smtClean="0"/>
              <a:t>Ерунаковская-8», </a:t>
            </a:r>
          </a:p>
          <a:p>
            <a:r>
              <a:rPr lang="ru-RU" sz="1600" b="0" dirty="0" smtClean="0"/>
              <a:t>г</a:t>
            </a:r>
            <a:r>
              <a:rPr lang="ru-RU" sz="1600" b="0" dirty="0"/>
              <a:t>. </a:t>
            </a:r>
            <a:r>
              <a:rPr lang="ru-RU" sz="1600" b="0" dirty="0" smtClean="0"/>
              <a:t>Новокузнецк, </a:t>
            </a:r>
            <a:r>
              <a:rPr lang="ru-RU" sz="1600" b="0" dirty="0"/>
              <a:t>прорыв воды, пульпы на транспортном уклоне </a:t>
            </a:r>
            <a:r>
              <a:rPr lang="ru-RU" sz="1600" b="0" dirty="0" smtClean="0"/>
              <a:t>- </a:t>
            </a:r>
            <a:r>
              <a:rPr lang="ru-RU" sz="1600" b="0" dirty="0"/>
              <a:t>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5. 08.05.2022 в ООО «</a:t>
            </a:r>
            <a:r>
              <a:rPr lang="ru-RU" sz="1600" b="0" dirty="0" err="1"/>
              <a:t>Техногазсервис</a:t>
            </a:r>
            <a:r>
              <a:rPr lang="ru-RU" sz="1600" b="0" dirty="0"/>
              <a:t>» на ОПО «станция газозаправочная автомобильная</a:t>
            </a:r>
            <a:r>
              <a:rPr lang="ru-RU" sz="1600" b="0" dirty="0" smtClean="0"/>
              <a:t>»,</a:t>
            </a:r>
          </a:p>
          <a:p>
            <a:r>
              <a:rPr lang="ru-RU" sz="1600" b="0" dirty="0" smtClean="0"/>
              <a:t>г</a:t>
            </a:r>
            <a:r>
              <a:rPr lang="ru-RU" sz="1600" b="0" dirty="0"/>
              <a:t>. </a:t>
            </a:r>
            <a:r>
              <a:rPr lang="ru-RU" sz="1600" b="0" dirty="0" smtClean="0"/>
              <a:t>Новоалтайск, </a:t>
            </a:r>
            <a:r>
              <a:rPr lang="ru-RU" sz="1600" b="0" dirty="0"/>
              <a:t>произошло воспламенение газовой смеси с </a:t>
            </a:r>
            <a:r>
              <a:rPr lang="ru-RU" sz="1600" b="0" dirty="0" smtClean="0"/>
              <a:t>последующим </a:t>
            </a:r>
            <a:r>
              <a:rPr lang="ru-RU" sz="1600" b="0" dirty="0"/>
              <a:t>взрывом газовых баллонов - 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6. 10.05.2022 в ООО СП «</a:t>
            </a:r>
            <a:r>
              <a:rPr lang="ru-RU" sz="1600" b="0" dirty="0" err="1"/>
              <a:t>Барзасское</a:t>
            </a:r>
            <a:r>
              <a:rPr lang="ru-RU" sz="1600" b="0" dirty="0"/>
              <a:t> товарищество» на ОПО «разрез угольный» участок «Гусинский </a:t>
            </a:r>
            <a:r>
              <a:rPr lang="ru-RU" sz="1600" b="0" dirty="0" smtClean="0"/>
              <a:t>Южный», г</a:t>
            </a:r>
            <a:r>
              <a:rPr lang="ru-RU" sz="1600" b="0" dirty="0"/>
              <a:t>. </a:t>
            </a:r>
            <a:r>
              <a:rPr lang="ru-RU" sz="1600" b="0" dirty="0" smtClean="0"/>
              <a:t>Березовский, </a:t>
            </a:r>
            <a:r>
              <a:rPr lang="ru-RU" sz="1600" b="0" dirty="0"/>
              <a:t>произошло опрокидывание автомобиля БЕЛАЗ с уступа высотой 40 метров - 1 смертельный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32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9 </a:t>
            </a:r>
            <a:r>
              <a:rPr lang="ru-RU" sz="2000" b="0" u="sng" dirty="0" smtClean="0"/>
              <a:t>месяцев </a:t>
            </a:r>
            <a:r>
              <a:rPr lang="ru-RU" sz="2000" b="0" u="sng" dirty="0"/>
              <a:t>2022 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/>
          </a:p>
          <a:p>
            <a:r>
              <a:rPr lang="ru-RU" sz="1600" b="0" dirty="0"/>
              <a:t>7. 05.07.2022 АО «Распадская-Коксовая» (г. Междуреченск, Кем. обл.) деформация пород кровли и бортов горной выработки, вывал горной массы - 1 смертельный.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8</a:t>
            </a:r>
            <a:r>
              <a:rPr lang="ru-RU" sz="1600" b="0" dirty="0"/>
              <a:t>. 04.08.2022 в АО «ЕВРАЗ ЗСМК» </a:t>
            </a:r>
            <a:r>
              <a:rPr lang="ru-RU" sz="1600" b="0" dirty="0" err="1"/>
              <a:t>Таштагольская</a:t>
            </a:r>
            <a:r>
              <a:rPr lang="ru-RU" sz="1600" b="0" dirty="0"/>
              <a:t> шахта (Кем. обл., г. Таштагол) падение из кабины электровоза – 1 смертельный.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9</a:t>
            </a:r>
            <a:r>
              <a:rPr lang="ru-RU" sz="1600" b="0" dirty="0"/>
              <a:t>. 05.08.2022 в АО «СИБИРЬ-ПОЛИМЕТАЛЛЫ» </a:t>
            </a:r>
            <a:r>
              <a:rPr lang="ru-RU" sz="1600" b="0" dirty="0" err="1"/>
              <a:t>Корбалихинский</a:t>
            </a:r>
            <a:r>
              <a:rPr lang="ru-RU" sz="1600" b="0" dirty="0"/>
              <a:t> рудник (Алтайский край, пос. </a:t>
            </a:r>
            <a:r>
              <a:rPr lang="ru-RU" sz="1600" b="0" dirty="0" err="1"/>
              <a:t>Беспаловский</a:t>
            </a:r>
            <a:r>
              <a:rPr lang="ru-RU" sz="1600" b="0" dirty="0"/>
              <a:t>) придавлен к борту выработки самоходной машиной – 1 смертельный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150740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нопка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Кнопка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нопк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ushpin</Template>
  <TotalTime>20763</TotalTime>
  <Words>1234</Words>
  <Application>Microsoft Office PowerPoint</Application>
  <PresentationFormat>Лист A4 (210x297 мм)</PresentationFormat>
  <Paragraphs>481</Paragraphs>
  <Slides>12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Кнопка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211</cp:revision>
  <cp:lastPrinted>2020-12-16T06:16:08Z</cp:lastPrinted>
  <dcterms:created xsi:type="dcterms:W3CDTF">2012-04-16T06:44:06Z</dcterms:created>
  <dcterms:modified xsi:type="dcterms:W3CDTF">2022-11-22T08:02:47Z</dcterms:modified>
</cp:coreProperties>
</file>